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Ex45.xml" ContentType="application/vnd.ms-office.chartex+xml"/>
  <Override PartName="/ppt/charts/style45.xml" ContentType="application/vnd.ms-office.chartstyle+xml"/>
  <Override PartName="/ppt/charts/colors45.xml" ContentType="application/vnd.ms-office.chartcolorstyle+xml"/>
  <Override PartName="/ppt/charts/chartEx46.xml" ContentType="application/vnd.ms-office.chartex+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Ex47.xml" ContentType="application/vnd.ms-office.chartex+xml"/>
  <Override PartName="/ppt/charts/style47.xml" ContentType="application/vnd.ms-office.chartstyle+xml"/>
  <Override PartName="/ppt/charts/colors47.xml" ContentType="application/vnd.ms-office.chartcolorstyle+xml"/>
  <Override PartName="/ppt/charts/chartEx48.xml" ContentType="application/vnd.ms-office.chartex+xml"/>
  <Override PartName="/ppt/charts/style48.xml" ContentType="application/vnd.ms-office.chartstyle+xml"/>
  <Override PartName="/ppt/charts/colors48.xml" ContentType="application/vnd.ms-office.chartcolorstyle+xml"/>
  <Override PartName="/ppt/notesSlides/notesSlide25.xml" ContentType="application/vnd.openxmlformats-officedocument.presentationml.notesSlide+xml"/>
  <Override PartName="/ppt/charts/chartEx49.xml" ContentType="application/vnd.ms-office.chartex+xml"/>
  <Override PartName="/ppt/charts/style49.xml" ContentType="application/vnd.ms-office.chartstyle+xml"/>
  <Override PartName="/ppt/charts/colors49.xml" ContentType="application/vnd.ms-office.chartcolorstyle+xml"/>
  <Override PartName="/ppt/charts/chartEx50.xml" ContentType="application/vnd.ms-office.chartex+xml"/>
  <Override PartName="/ppt/charts/style50.xml" ContentType="application/vnd.ms-office.chartstyle+xml"/>
  <Override PartName="/ppt/charts/colors50.xml" ContentType="application/vnd.ms-office.chartcolorstyle+xml"/>
  <Override PartName="/ppt/notesSlides/notesSlide26.xml" ContentType="application/vnd.openxmlformats-officedocument.presentationml.notesSlide+xml"/>
  <Override PartName="/ppt/charts/chartEx51.xml" ContentType="application/vnd.ms-office.chartex+xml"/>
  <Override PartName="/ppt/charts/style51.xml" ContentType="application/vnd.ms-office.chartstyle+xml"/>
  <Override PartName="/ppt/charts/colors51.xml" ContentType="application/vnd.ms-office.chartcolorstyle+xml"/>
  <Override PartName="/ppt/charts/chartEx52.xml" ContentType="application/vnd.ms-office.chartex+xml"/>
  <Override PartName="/ppt/charts/style52.xml" ContentType="application/vnd.ms-office.chartstyle+xml"/>
  <Override PartName="/ppt/charts/colors52.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31"/>
  </p:notesMasterIdLst>
  <p:sldIdLst>
    <p:sldId id="2147475196" r:id="rId5"/>
    <p:sldId id="2147475182" r:id="rId6"/>
    <p:sldId id="2147475183" r:id="rId7"/>
    <p:sldId id="2147475184" r:id="rId8"/>
    <p:sldId id="2147475185" r:id="rId9"/>
    <p:sldId id="2147475186" r:id="rId10"/>
    <p:sldId id="2147475187" r:id="rId11"/>
    <p:sldId id="2147475188" r:id="rId12"/>
    <p:sldId id="2147475189" r:id="rId13"/>
    <p:sldId id="2147475190" r:id="rId14"/>
    <p:sldId id="2147475191" r:id="rId15"/>
    <p:sldId id="2147475192" r:id="rId16"/>
    <p:sldId id="2147475193" r:id="rId17"/>
    <p:sldId id="2147475194" r:id="rId18"/>
    <p:sldId id="2147475170" r:id="rId19"/>
    <p:sldId id="2147475171" r:id="rId20"/>
    <p:sldId id="2147475172" r:id="rId21"/>
    <p:sldId id="2147475173" r:id="rId22"/>
    <p:sldId id="2147475174" r:id="rId23"/>
    <p:sldId id="2147475175" r:id="rId24"/>
    <p:sldId id="2147475176" r:id="rId25"/>
    <p:sldId id="2147475177" r:id="rId26"/>
    <p:sldId id="2147475178" r:id="rId27"/>
    <p:sldId id="2147475179" r:id="rId28"/>
    <p:sldId id="2147475180" r:id="rId29"/>
    <p:sldId id="2147475181" r:id="rId3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95688989-A46B-41D1-B577-BD9DEE8DDACF}">
          <p14:sldIdLst>
            <p14:sldId id="2147475196"/>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70"/>
            <p14:sldId id="2147475171"/>
            <p14:sldId id="2147475172"/>
            <p14:sldId id="2147475173"/>
            <p14:sldId id="2147475174"/>
            <p14:sldId id="2147475175"/>
            <p14:sldId id="2147475176"/>
            <p14:sldId id="2147475177"/>
            <p14:sldId id="2147475178"/>
            <p14:sldId id="2147475179"/>
            <p14:sldId id="2147475180"/>
            <p14:sldId id="214747518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103" d="100"/>
          <a:sy n="103" d="100"/>
        </p:scale>
        <p:origin x="902"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bleStyles" Target="tableStyles.xml"/><Relationship Id="rId8" Type="http://schemas.openxmlformats.org/officeDocument/2006/relationships/slide" Target="slides/slide4.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_rels/chartEx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1.xlsx"/></Relationships>
</file>

<file path=ppt/charts/_rels/chartEx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3.xlsx"/></Relationships>
</file>

<file path=ppt/charts/_rels/chartEx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5.xlsx"/></Relationships>
</file>

<file path=ppt/charts/_rels/chartEx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6.xlsx"/></Relationships>
</file>

<file path=ppt/charts/_rels/chartEx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1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package" Target="../embeddings/Microsoft_Excel_Worksheet18.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19.xlsx"/></Relationships>
</file>

<file path=ppt/charts/_rels/chartEx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0.xlsx"/></Relationships>
</file>

<file path=ppt/charts/_rels/chartEx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1.xlsx"/></Relationships>
</file>

<file path=ppt/charts/_rels/chartEx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_rels/chartEx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24.xlsx"/></Relationships>
</file>

<file path=ppt/charts/_rels/chartEx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Microsoft_Excel_Worksheet25.xlsx"/></Relationships>
</file>

<file path=ppt/charts/_rels/chartEx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Microsoft_Excel_Worksheet26.xlsx"/></Relationships>
</file>

<file path=ppt/charts/_rels/chartEx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_rels/chartEx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Microsoft_Excel_Worksheet28.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0.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package" Target="../embeddings/Microsoft_Excel_Worksheet29.xlsx"/></Relationships>
</file>

<file path=ppt/charts/_rels/chartEx3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_rels/chartEx3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package" Target="../embeddings/Microsoft_Excel_Worksheet31.xlsx"/></Relationships>
</file>

<file path=ppt/charts/_rels/chartEx3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package" Target="../embeddings/Microsoft_Excel_Worksheet32.xlsx"/></Relationships>
</file>

<file path=ppt/charts/_rels/chartEx34.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package" Target="../embeddings/Microsoft_Excel_Worksheet33.xlsx"/></Relationships>
</file>

<file path=ppt/charts/_rels/chartEx35.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package" Target="../embeddings/Microsoft_Excel_Worksheet34.xlsx"/></Relationships>
</file>

<file path=ppt/charts/_rels/chartEx36.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package" Target="../embeddings/Microsoft_Excel_Worksheet35.xlsx"/></Relationships>
</file>

<file path=ppt/charts/_rels/chartEx37.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package" Target="../embeddings/Microsoft_Excel_Worksheet36.xlsx"/></Relationships>
</file>

<file path=ppt/charts/_rels/chartEx38.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package" Target="../embeddings/Microsoft_Excel_Worksheet37.xlsx"/></Relationships>
</file>

<file path=ppt/charts/_rels/chartEx3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package" Target="../embeddings/Microsoft_Excel_Worksheet38.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40.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package" Target="../embeddings/Microsoft_Excel_Worksheet39.xlsx"/></Relationships>
</file>

<file path=ppt/charts/_rels/chartEx41.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package" Target="../embeddings/Microsoft_Excel_Worksheet40.xlsx"/></Relationships>
</file>

<file path=ppt/charts/_rels/chartEx42.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package" Target="../embeddings/Microsoft_Excel_Worksheet41.xlsx"/></Relationships>
</file>

<file path=ppt/charts/_rels/chartEx43.xml.rels><?xml version="1.0" encoding="UTF-8" standalone="yes"?>
<Relationships xmlns="http://schemas.openxmlformats.org/package/2006/relationships"><Relationship Id="rId3" Type="http://schemas.microsoft.com/office/2011/relationships/chartColorStyle" Target="colors43.xml"/><Relationship Id="rId2" Type="http://schemas.microsoft.com/office/2011/relationships/chartStyle" Target="style43.xml"/><Relationship Id="rId1" Type="http://schemas.openxmlformats.org/officeDocument/2006/relationships/package" Target="../embeddings/Microsoft_Excel_Worksheet42.xlsx"/></Relationships>
</file>

<file path=ppt/charts/_rels/chartEx44.xml.rels><?xml version="1.0" encoding="UTF-8" standalone="yes"?>
<Relationships xmlns="http://schemas.openxmlformats.org/package/2006/relationships"><Relationship Id="rId3" Type="http://schemas.microsoft.com/office/2011/relationships/chartColorStyle" Target="colors44.xml"/><Relationship Id="rId2" Type="http://schemas.microsoft.com/office/2011/relationships/chartStyle" Target="style44.xml"/><Relationship Id="rId1" Type="http://schemas.openxmlformats.org/officeDocument/2006/relationships/package" Target="../embeddings/Microsoft_Excel_Worksheet43.xlsx"/></Relationships>
</file>

<file path=ppt/charts/_rels/chartEx45.xml.rels><?xml version="1.0" encoding="UTF-8" standalone="yes"?>
<Relationships xmlns="http://schemas.openxmlformats.org/package/2006/relationships"><Relationship Id="rId3" Type="http://schemas.microsoft.com/office/2011/relationships/chartColorStyle" Target="colors45.xml"/><Relationship Id="rId2" Type="http://schemas.microsoft.com/office/2011/relationships/chartStyle" Target="style45.xml"/><Relationship Id="rId1" Type="http://schemas.openxmlformats.org/officeDocument/2006/relationships/package" Target="../embeddings/Microsoft_Excel_Worksheet44.xlsx"/></Relationships>
</file>

<file path=ppt/charts/_rels/chartEx46.xml.rels><?xml version="1.0" encoding="UTF-8" standalone="yes"?>
<Relationships xmlns="http://schemas.openxmlformats.org/package/2006/relationships"><Relationship Id="rId3" Type="http://schemas.microsoft.com/office/2011/relationships/chartColorStyle" Target="colors46.xml"/><Relationship Id="rId2" Type="http://schemas.microsoft.com/office/2011/relationships/chartStyle" Target="style46.xml"/><Relationship Id="rId1" Type="http://schemas.openxmlformats.org/officeDocument/2006/relationships/package" Target="../embeddings/Microsoft_Excel_Worksheet45.xlsx"/></Relationships>
</file>

<file path=ppt/charts/_rels/chartEx47.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package" Target="../embeddings/Microsoft_Excel_Worksheet46.xlsx"/></Relationships>
</file>

<file path=ppt/charts/_rels/chartEx48.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package" Target="../embeddings/Microsoft_Excel_Worksheet47.xlsx"/></Relationships>
</file>

<file path=ppt/charts/_rels/chartEx49.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package" Target="../embeddings/Microsoft_Excel_Worksheet48.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50.xml.rels><?xml version="1.0" encoding="UTF-8" standalone="yes"?>
<Relationships xmlns="http://schemas.openxmlformats.org/package/2006/relationships"><Relationship Id="rId3" Type="http://schemas.microsoft.com/office/2011/relationships/chartColorStyle" Target="colors50.xml"/><Relationship Id="rId2" Type="http://schemas.microsoft.com/office/2011/relationships/chartStyle" Target="style50.xml"/><Relationship Id="rId1" Type="http://schemas.openxmlformats.org/officeDocument/2006/relationships/package" Target="../embeddings/Microsoft_Excel_Worksheet49.xlsx"/></Relationships>
</file>

<file path=ppt/charts/_rels/chartEx51.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package" Target="../embeddings/Microsoft_Excel_Worksheet50.xlsx"/></Relationships>
</file>

<file path=ppt/charts/_rels/chartEx52.xml.rels><?xml version="1.0" encoding="UTF-8" standalone="yes"?>
<Relationships xmlns="http://schemas.openxmlformats.org/package/2006/relationships"><Relationship Id="rId3" Type="http://schemas.microsoft.com/office/2011/relationships/chartColorStyle" Target="colors52.xml"/><Relationship Id="rId2" Type="http://schemas.microsoft.com/office/2011/relationships/chartStyle" Target="style52.xml"/><Relationship Id="rId1" Type="http://schemas.openxmlformats.org/officeDocument/2006/relationships/package" Target="../embeddings/Microsoft_Excel_Worksheet51.xlsx"/></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_rels/chartEx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Microsoft_Excel_Worksheet8.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227.741999999998</cx:pt>
          <cx:pt idx="1">-712.5520219999994</cx:pt>
          <cx:pt idx="2">2935.8604933999991</cx:pt>
          <cx:pt idx="3">-0.00047139999968931077</cx:pt>
          <cx:pt idx="4">17.489000000000001</cx:pt>
          <cx:pt idx="5">-4.593</cx:pt>
          <cx:pt idx="6">25463.946</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1.90300000000002</cx:pt>
          <cx:pt idx="1">6.8662547000000025</cx:pt>
          <cx:pt idx="2">-35.122438599999995</cx:pt>
          <cx:pt idx="3">0.00018389999999271822</cx:pt>
          <cx:pt idx="4">0</cx:pt>
          <cx:pt idx="5">-0.47899999999999998</cx:pt>
          <cx:pt idx="6">343.168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13.377</cx:pt>
          <cx:pt idx="1">-33.289315900000041</cx:pt>
          <cx:pt idx="2">-80.645534600000005</cx:pt>
          <cx:pt idx="3">-0.0001494999999704305</cx:pt>
          <cx:pt idx="4">0.11</cx:pt>
          <cx:pt idx="5">-0.70499999999999996</cx:pt>
          <cx:pt idx="6">1098.8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3</cx:pt>
          <cx:pt idx="1">4</cx:pt>
          <cx:pt idx="2">-30</cx:pt>
          <cx:pt idx="3">1.1920928955078126e-12</cx:pt>
          <cx:pt idx="4">0</cx:pt>
          <cx:pt idx="5">0</cx:pt>
          <cx:pt idx="6">246</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3.65200000000004</cx:pt>
          <cx:pt idx="1">-23.23834800000002</cx:pt>
          <cx:pt idx="2">61.58641490000003</cx:pt>
          <cx:pt idx="3">-6.6900000012537931e-05</cx:pt>
          <cx:pt idx="4">0.080000000000000002</cx:pt>
          <cx:pt idx="5">-0.96999999999999997</cx:pt>
          <cx:pt idx="6">621.110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84</cx:pt>
          <cx:pt idx="1">2</cx:pt>
          <cx:pt idx="2">-6</cx:pt>
          <cx:pt idx="3">1.1920928955078126e-12</cx:pt>
          <cx:pt idx="4">1</cx:pt>
          <cx:pt idx="5">0</cx:pt>
          <cx:pt idx="6">270</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35.53899999999999</cx:pt>
          <cx:pt idx="1">-22.404794300000006</cx:pt>
          <cx:pt idx="2">1.7988661000000044</cx:pt>
          <cx:pt idx="3">0.2479282000000021</cx:pt>
          <cx:pt idx="4">0.63200000000000001</cx:pt>
          <cx:pt idx="5">-0.54000000000000004</cx:pt>
          <cx:pt idx="6">715.273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53.922</cx:pt>
          <cx:pt idx="1">3.8311001000000022</cx:pt>
          <cx:pt idx="2">0.38930859999999778</cx:pt>
          <cx:pt idx="3">0.021591300000000046</cx:pt>
          <cx:pt idx="4">-0.021999999999999999</cx:pt>
          <cx:pt idx="5">-0.73599999999999999</cx:pt>
          <cx:pt idx="6">257.406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8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1.05900000000003</cx:pt>
          <cx:pt idx="1">-13.515958499999995</cx:pt>
          <cx:pt idx="2">19.642064699999995</cx:pt>
          <cx:pt idx="3">-0.00010620000000017172</cx:pt>
          <cx:pt idx="4">2.383</cx:pt>
          <cx:pt idx="5">-3.0099999999999998</cx:pt>
          <cx:pt idx="6">336.557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30000000000001</cx:pt>
          <cx:pt idx="1">1.6190845999999963</cx:pt>
          <cx:pt idx="2">-14.7609593</cx:pt>
          <cx:pt idx="3">-0.00012529999999605934</cx:pt>
          <cx:pt idx="4">0.55500000000000005</cx:pt>
          <cx:pt idx="5">0</cx:pt>
          <cx:pt idx="6">127.7129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0.80799999999999</cx:pt>
          <cx:pt idx="1">-8.738319300000013</cx:pt>
          <cx:pt idx="2">23.258327000000005</cx:pt>
          <cx:pt idx="3">-7.6999999910185581e-06</cx:pt>
          <cx:pt idx="4">0</cx:pt>
          <cx:pt idx="5">-2.3130000000000002</cx:pt>
          <cx:pt idx="6">343.014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99.2039999999997</cx:pt>
          <cx:pt idx="1">74.312135799999794</cx:pt>
          <cx:pt idx="2">20.200373799999955</cx:pt>
          <cx:pt idx="3">-0.0035095999997574838</cx:pt>
          <cx:pt idx="4">0.086999999999999994</cx:pt>
          <cx:pt idx="5">-0.14899999999999999</cx:pt>
          <cx:pt idx="6">5693.6509999999998</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5</cx:pt>
          <cx:pt idx="1">1</cx:pt>
          <cx:pt idx="2">0</cx:pt>
          <cx:pt idx="3">1.1920928955078126e-12</cx:pt>
          <cx:pt idx="4">0</cx:pt>
          <cx:pt idx="5">-1</cx:pt>
          <cx:pt idx="6">85</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33.808000000001</cx:pt>
          <cx:pt idx="1">-373.77822309999954</cx:pt>
          <cx:pt idx="2">-499.07801000000006</cx:pt>
          <cx:pt idx="3">0.0002330999996047467</cx:pt>
          <cx:pt idx="4">3.7999999999999998</cx:pt>
          <cx:pt idx="5">-3.625</cx:pt>
          <cx:pt idx="6">10761.12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0.0790000000002</cx:pt>
          <cx:pt idx="1">53.204381100000241</cx:pt>
          <cx:pt idx="2">-264.24826690000003</cx:pt>
          <cx:pt idx="3">0.0018857999998144806</cx:pt>
          <cx:pt idx="4">0</cx:pt>
          <cx:pt idx="5">-0.051999999999999998</cx:pt>
          <cx:pt idx="6">3788.985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18.8489999999999</cx:pt>
          <cx:pt idx="1">-56.263849799999868</cx:pt>
          <cx:pt idx="2">43.321512699999992</cx:pt>
          <cx:pt idx="3">0.00033709999987331684</cx:pt>
          <cx:pt idx="4">0.42999999999999999</cx:pt>
          <cx:pt idx="5">-0.67000000000000004</cx:pt>
          <cx:pt idx="6">1905.66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4.66099999999994</cx:pt>
          <cx:pt idx="1">11.562674999999997</cx:pt>
          <cx:pt idx="2">-65.410697499999998</cx:pt>
          <cx:pt idx="3">2.2500000006402842e-05</cx:pt>
          <cx:pt idx="4">0.045999999999999999</cx:pt>
          <cx:pt idx="5">0</cx:pt>
          <cx:pt idx="6">630.85900000000004</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62.35799999999995</cx:pt>
          <cx:pt idx="1">-36.446578800000005</cx:pt>
          <cx:pt idx="2">52.467925500000007</cx:pt>
          <cx:pt idx="3">-0.00034670000000187428</cx:pt>
          <cx:pt idx="4">0.54000000000000004</cx:pt>
          <cx:pt idx="5">-0.48499999999999999</cx:pt>
          <cx:pt idx="6">878.4339999999999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0.20499999999998</cx:pt>
          <cx:pt idx="1">5.1665139000000142</cx:pt>
          <cx:pt idx="2">-16.006696399999996</cx:pt>
          <cx:pt idx="3">0.062182499999982613</cx:pt>
          <cx:pt idx="4">-0.062</cx:pt>
          <cx:pt idx="5">-0.062</cx:pt>
          <cx:pt idx="6">279.303</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13999999999999</cx:pt>
          <cx:pt idx="1">-16.083120899999994</cx:pt>
          <cx:pt idx="2">53.598001499999988</cx:pt>
          <cx:pt idx="3">0.0001194000000032247</cx:pt>
          <cx:pt idx="4">0.96199999999999997</cx:pt>
          <cx:pt idx="5">-0.53000000000000003</cx:pt>
          <cx:pt idx="6">395.0869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9.077</cx:pt>
          <cx:pt idx="1">1.792620199999998</cx:pt>
          <cx:pt idx="2">-13.421513900000001</cx:pt>
          <cx:pt idx="3">-0.0001062999999976455</cx:pt>
          <cx:pt idx="4">0.39400000000000002</cx:pt>
          <cx:pt idx="5">-1.2110000000000001</cx:pt>
          <cx:pt idx="6">216.63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4.822</cx:pt>
          <cx:pt idx="1">-18.488136599999994</cx:pt>
          <cx:pt idx="2">22.783170699999999</cx:pt>
          <cx:pt idx="3">-3.4100000004400501e-05</cx:pt>
          <cx:pt idx="4">2.0819999999999999</cx:pt>
          <cx:pt idx="5">-0.14599999999999999</cx:pt>
          <cx:pt idx="6">391.053</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42.7759999999998</cx:pt>
          <cx:pt idx="1">-242.36846959999997</cx:pt>
          <cx:pt idx="2">79.574090799999993</cx:pt>
          <cx:pt idx="3">0.0023788000000058672</cx:pt>
          <cx:pt idx="4">2.2200000000000002</cx:pt>
          <cx:pt idx="5">-3.0710000000000002</cx:pt>
          <cx:pt idx="6">5979.132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5.19900000000001</cx:pt>
          <cx:pt idx="1">2.4996108000000015</cx:pt>
          <cx:pt idx="2">-10.365725200000002</cx:pt>
          <cx:pt idx="3">0.022114400000001297</cx:pt>
          <cx:pt idx="4">-0.021999999999999999</cx:pt>
          <cx:pt idx="5">-0.021999999999999999</cx:pt>
          <cx:pt idx="6">157.311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9.79300000000001</cx:pt>
          <cx:pt idx="1">-9.4128763000000149</cx:pt>
          <cx:pt idx="2">19.656958800000009</cx:pt>
          <cx:pt idx="3">-8.2499999993160595e-05</cx:pt>
          <cx:pt idx="4">0.53100000000000003</cx:pt>
          <cx:pt idx="5">-2.98</cx:pt>
          <cx:pt idx="6">287.5880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cx:pt>
          <cx:pt idx="1">3</cx:pt>
          <cx:pt idx="2">11</cx:pt>
          <cx:pt idx="3">0</cx:pt>
          <cx:pt idx="4">0</cx:pt>
          <cx:pt idx="5">0</cx:pt>
          <cx:pt idx="6">16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8.65600000000001</cx:pt>
          <cx:pt idx="1">-10.706056800000018</cx:pt>
          <cx:pt idx="2">1.3300531000000029</cx:pt>
          <cx:pt idx="3">3.7000000156695024e-06</cx:pt>
          <cx:pt idx="4">0.94399999999999995</cx:pt>
          <cx:pt idx="5">-0.52300000000000002</cx:pt>
          <cx:pt idx="6">259.70100000000002</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err="1">
                <a:solidFill>
                  <a:schemeClr val="tx1"/>
                </a:solidFill>
                <a:latin typeface="Nexa Bold" panose="00000800000000000000" pitchFamily="2" charset="0"/>
              </a:rPr>
              <a:t>Ruinart</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2.45699999999999</cx:pt>
          <cx:pt idx="1">1.517128300000004</cx:pt>
          <cx:pt idx="2">-8.4731408000000012</cx:pt>
          <cx:pt idx="3">1.2499999997089617e-05</cx:pt>
          <cx:pt idx="4">0.69099999999999995</cx:pt>
          <cx:pt idx="5">-0.36599999999999999</cx:pt>
          <cx:pt idx="6">115.82599999999999</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5.64400000000001</cx:pt>
          <cx:pt idx="1">-7.5223054999999945</cx:pt>
          <cx:pt idx="2">11.5513548</cx:pt>
          <cx:pt idx="3">-4.9300000006041953e-05</cx:pt>
          <cx:pt idx="4">0.39600000000000002</cx:pt>
          <cx:pt idx="5">-0.81299999999999994</cx:pt>
          <cx:pt idx="6">159.256</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cx:pt>
          <cx:pt idx="1">1</cx:pt>
          <cx:pt idx="2">-4</cx:pt>
          <cx:pt idx="3">1.1920928955078126e-12</cx:pt>
          <cx:pt idx="4">0</cx:pt>
          <cx:pt idx="5">0</cx:pt>
          <cx:pt idx="6">84</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rPr>
              <a:t>Nicolas</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8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4.19800000000001</cx:pt>
          <cx:pt idx="1">-6.4836788000000025</cx:pt>
          <cx:pt idx="2">-51.155329299999991</cx:pt>
          <cx:pt idx="3">8.0999999918276452e-06</cx:pt>
          <cx:pt idx="4">0.442</cx:pt>
          <cx:pt idx="5">-0.57899999999999996</cx:pt>
          <cx:pt idx="6">146.42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613</cx:pt>
          <cx:pt idx="1">0.013151600000001651</cx:pt>
          <cx:pt idx="2">-1.4161332999999998</cx:pt>
          <cx:pt idx="3">-0.0020183000000020004</cx:pt>
          <cx:pt idx="4">0.36699999999999999</cx:pt>
          <cx:pt idx="5">-0.95799999999999996</cx:pt>
          <cx:pt idx="6">55.616999999999997</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5.772000000000006</cx:pt>
          <cx:pt idx="1">-6.6557989000000006</cx:pt>
          <cx:pt idx="2">3.2767868999999985</cx:pt>
          <cx:pt idx="3">1.2000000001989974e-05</cx:pt>
          <cx:pt idx="4">0.441</cx:pt>
          <cx:pt idx="5">0</cx:pt>
          <cx:pt idx="6">92.834000000000003</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1.4659999999999</cx:pt>
          <cx:pt idx="1">32.500089900000049</cx:pt>
          <cx:pt idx="2">-168.67111990000001</cx:pt>
          <cx:pt idx="3">0.001029999999969732</cx:pt>
          <cx:pt idx="4">0</cx:pt>
          <cx:pt idx="5">-0.051999999999999998</cx:pt>
          <cx:pt idx="6">2515.24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7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380000000000003</cx:pt>
          <cx:pt idx="1">0.94005819999999929</cx:pt>
          <cx:pt idx="2">-8.1050322000000001</cx:pt>
          <cx:pt idx="3">0.030974000000000161</cx:pt>
          <cx:pt idx="4">-0.031</cx:pt>
          <cx:pt idx="5">-0.42499999999999999</cx:pt>
          <cx:pt idx="6">29.78999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C00000"/>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12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8.18700000000001</cx:pt>
          <cx:pt idx="1">-1.2427045000000023</cx:pt>
          <cx:pt idx="2">-110.1112803</cx:pt>
          <cx:pt idx="3">-1.5199999994365498e-05</cx:pt>
          <cx:pt idx="4">0.83299999999999996</cx:pt>
          <cx:pt idx="5">-1.014</cx:pt>
          <cx:pt idx="6">116.65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4.106000000000002</cx:pt>
          <cx:pt idx="1">0.41948949999999985</cx:pt>
          <cx:pt idx="2">5.4164557000000002</cx:pt>
          <cx:pt idx="3">5.4799999999886495e-05</cx:pt>
          <cx:pt idx="4">0.036999999999999998</cx:pt>
          <cx:pt idx="5">-0.044999999999999998</cx:pt>
          <cx:pt idx="6">29.9340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993.2299999999996</cx:pt>
          <cx:pt idx="1">-146.59217299999975</cx:pt>
          <cx:pt idx="2">60.806908999999905</cx:pt>
          <cx:pt idx="3">-0.00073600000014994288</cx:pt>
          <cx:pt idx="4">2.1629999999999998</cx:pt>
          <cx:pt idx="5">-2.157</cx:pt>
          <cx:pt idx="6">4907.4499999999998</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9.1769999999999</cx:pt>
          <cx:pt idx="1">20.238014499999899</cx:pt>
          <cx:pt idx="2">-86.212222999999994</cx:pt>
          <cx:pt idx="3">-0.0017914999999047723</cx:pt>
          <cx:pt idx="4">0</cx:pt>
          <cx:pt idx="5">0</cx:pt>
          <cx:pt idx="6">1463.2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6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26.471</cx:pt>
          <cx:pt idx="1">-76.857938400000023</cx:pt>
          <cx:pt idx="2">-6.0851618000000389</cx:pt>
          <cx:pt idx="3">0.00010020000007352792</cx:pt>
          <cx:pt idx="4">5.5170000000000003</cx:pt>
          <cx:pt idx="5">-1.2050000000000001</cx:pt>
          <cx:pt idx="6">2147.84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5.745</cx:pt>
          <cx:pt idx="1">11.589134900000079</cx:pt>
          <cx:pt idx="2">-37.855891</cx:pt>
          <cx:pt idx="3">0.028756099999925937</cx:pt>
          <cx:pt idx="4">0.012</cx:pt>
          <cx:pt idx="5">-0.029000000000000001</cx:pt>
          <cx:pt idx="6">849.4900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7.8310000000001</cx:pt>
          <cx:pt idx="1">-129.21284589999991</cx:pt>
          <cx:pt idx="2">-62.941728100000027</cx:pt>
          <cx:pt idx="3">-0.00042600000006495976</cx:pt>
          <cx:pt idx="4">0.56000000000000005</cx:pt>
          <cx:pt idx="5">-3.0859999999999999</cx:pt>
          <cx:pt idx="6">3453.150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C00000"/>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0.557</cx:pt>
          <cx:pt idx="1">19.567451000000016</cx:pt>
          <cx:pt idx="2">-102.47257800000001</cx:pt>
          <cx:pt idx="3">0.0021269999999931313</cx:pt>
          <cx:pt idx="4">0.045999999999999999</cx:pt>
          <cx:pt idx="5">-0.17899999999999999</cx:pt>
          <cx:pt idx="6">1317.52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84.2269999999999</cx:pt>
          <cx:pt idx="1">-101.53621969999995</cx:pt>
          <cx:pt idx="2">-349.56270879999994</cx:pt>
          <cx:pt idx="3">0.00092849999992176892</cx:pt>
          <cx:pt idx="4">1.659</cx:pt>
          <cx:pt idx="5">-1.2390000000000001</cx:pt>
          <cx:pt idx="6">2733.54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8.0770000000002</cx:pt>
          <cx:pt idx="1">-117.44701360000001</cx:pt>
          <cx:pt idx="2">-278.33017650000011</cx:pt>
          <cx:pt idx="3">0.00019010000012349338</cx:pt>
          <cx:pt idx="4">0.72399999999999998</cx:pt>
          <cx:pt idx="5">-1.6100000000000001</cx:pt>
          <cx:pt idx="6">3181.4140000000002</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8.6320000000001</cx:pt>
          <cx:pt idx="1">14.358562099999961</cx:pt>
          <cx:pt idx="2">-79.592132599999999</cx:pt>
          <cx:pt idx="3">-0.0014294999999619905</cx:pt>
          <cx:pt idx="4">0</cx:pt>
          <cx:pt idx="5">-0.044999999999999998</cx:pt>
          <cx:pt idx="6">1023.352</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22.8789999999999</cx:pt>
          <cx:pt idx="1">-100.13523169999998</cx:pt>
          <cx:pt idx="2">-69.836975800000019</cx:pt>
          <cx:pt idx="3">0.00020749999998952262</cx:pt>
          <cx:pt idx="4">0</cx:pt>
          <cx:pt idx="5">-0.623</cx:pt>
          <cx:pt idx="6">2452.2840000000001</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11.942</cx:pt>
          <cx:pt idx="1">13.733818099999963</cx:pt>
          <cx:pt idx="2">-73.03122519999998</cx:pt>
          <cx:pt idx="3">0.0004071000000258209</cx:pt>
          <cx:pt idx="4">0</cx:pt>
          <cx:pt idx="5">-0.42999999999999999</cx:pt>
          <cx:pt idx="6">1052.2149999999999</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3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96.2539999999999</cx:pt>
          <cx:pt idx="1">19.548250900000049</cx:pt>
          <cx:pt idx="2">-65.531010800000004</cx:pt>
          <cx:pt idx="3">-0.00024010000004636822</cx:pt>
          <cx:pt idx="4">0</cx:pt>
          <cx:pt idx="5">-0.23699999999999999</cx:pt>
          <cx:pt idx="6">1250.0340000000001</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C00000"/>
              </a:solidFill>
            </cx:spPr>
          </cx:dataPt>
          <cx:dataPt idx="4">
            <cx:spPr>
              <a:solidFill>
                <a:srgbClr val="AEABAB"/>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4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36.5</cx:pt>
          <cx:pt idx="1">-57.284101599999985</cx:pt>
          <cx:pt idx="2">49.702589000000053</cx:pt>
          <cx:pt idx="3">0.0005125999999363557</cx:pt>
          <cx:pt idx="4">0.14599999999999999</cx:pt>
          <cx:pt idx="5">-0.92800000000000005</cx:pt>
          <cx:pt idx="6">1828.1369999999999</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00A097"/>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2.46000000000004</cx:pt>
          <cx:pt idx="1">10.882499999999967</cx:pt>
          <cx:pt idx="2">-61.970898400000003</cx:pt>
          <cx:pt idx="3">0.00039840000003459866</cx:pt>
          <cx:pt idx="4">0</cx:pt>
          <cx:pt idx="5">0</cx:pt>
          <cx:pt idx="6">611.37199999999996</cx:pt>
        </cx:lvl>
      </cx:numDim>
    </cx:data>
  </cx:chartData>
  <cx:chart>
    <cx:title pos="t" align="ctr" overlay="0">
      <cx:tx>
        <cx:txData>
          <cx:v>Nicolas</cx:v>
        </cx:txData>
      </cx:tx>
      <cx:txPr>
        <a:bodyPr vertOverflow="overflow" horzOverflow="overflow" wrap="square" lIns="0" tIns="0" rIns="0" bIns="0"/>
        <a:lstStyle/>
        <a:p>
          <a:pPr algn="ctr" rtl="0"/>
          <a:r>
            <a:rPr lang="en-US" sz="1000" dirty="0">
              <a:solidFill>
                <a:schemeClr val="tx1"/>
              </a:solidFill>
              <a:effectLst/>
            </a:rPr>
            <a:t>Nicolas</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00A097"/>
              </a:solidFill>
            </cx:spPr>
          </cx:dataPt>
          <cx:dataPt idx="2">
            <cx:spPr>
              <a:solidFill>
                <a:srgbClr val="C00000"/>
              </a:solidFill>
              <a:ln>
                <a:noFill/>
              </a:ln>
            </cx:spPr>
          </cx:dataPt>
          <cx:dataPt idx="3">
            <cx:spPr>
              <a:solidFill>
                <a:srgbClr val="00A097"/>
              </a:solidFill>
            </cx:spPr>
          </cx:dataPt>
          <cx:dataPt idx="4">
            <cx:spPr>
              <a:solidFill>
                <a:srgbClr val="AEABAB"/>
              </a:solidFill>
            </cx:spPr>
          </cx:dataPt>
          <cx:dataPt idx="5">
            <cx:spPr>
              <a:solidFill>
                <a:srgbClr val="AEABAB"/>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0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23.5050000000001</cx:pt>
          <cx:pt idx="1">-38.141346400000053</cx:pt>
          <cx:pt idx="2">-294.30424070000009</cx:pt>
          <cx:pt idx="3">0.00058710000012069936</cx:pt>
          <cx:pt idx="4">1.5600000000000001</cx:pt>
          <cx:pt idx="5">-2.073</cx:pt>
          <cx:pt idx="6">1590.547</cx:pt>
        </cx:lvl>
      </cx:numDim>
    </cx:data>
  </cx:chartData>
  <cx:chart>
    <cx:title pos="t" align="ctr" overlay="0">
      <cx:tx>
        <cx:txData>
          <cx:v>Ruinart</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Ruinart</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1">
            <cx:spPr>
              <a:solidFill>
                <a:srgbClr val="C00000"/>
              </a:solidFill>
            </cx:spPr>
          </cx:dataPt>
          <cx:dataPt idx="2">
            <cx:spPr>
              <a:solidFill>
                <a:srgbClr val="C00000"/>
              </a:solidFill>
              <a:ln>
                <a:noFill/>
              </a:ln>
            </cx:spPr>
          </cx:dataPt>
          <cx:dataPt idx="3">
            <cx:spPr>
              <a:solidFill>
                <a:srgbClr val="00A097"/>
              </a:solidFill>
            </cx:spPr>
          </cx:dataPt>
          <cx:dataPt idx="4">
            <cx:spPr>
              <a:solidFill>
                <a:srgbClr val="00A097"/>
              </a:solidFill>
            </cx:spPr>
          </cx:dataPt>
          <cx:dataPt idx="5">
            <cx:spPr>
              <a:solidFill>
                <a:srgbClr val="C00000"/>
              </a:solidFill>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2500"/>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01/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1/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microsoft.com/office/2014/relationships/chartEx" Target="../charts/chartEx19.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4.png"/><Relationship Id="rId5" Type="http://schemas.microsoft.com/office/2014/relationships/chartEx" Target="../charts/chartEx20.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microsoft.com/office/2014/relationships/chartEx" Target="../charts/chartEx21.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46.png"/><Relationship Id="rId5" Type="http://schemas.microsoft.com/office/2014/relationships/chartEx" Target="../charts/chartEx22.xml"/><Relationship Id="rId4" Type="http://schemas.openxmlformats.org/officeDocument/2006/relationships/image" Target="../media/image45.png"/></Relationships>
</file>

<file path=ppt/slides/_rels/slide12.xml.rels><?xml version="1.0" encoding="UTF-8" standalone="yes"?>
<Relationships xmlns="http://schemas.openxmlformats.org/package/2006/relationships"><Relationship Id="rId3" Type="http://schemas.microsoft.com/office/2014/relationships/chartEx" Target="../charts/chartEx2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48.png"/><Relationship Id="rId5" Type="http://schemas.microsoft.com/office/2014/relationships/chartEx" Target="../charts/chartEx24.xml"/><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microsoft.com/office/2014/relationships/chartEx" Target="../charts/chartEx2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0.png"/><Relationship Id="rId5" Type="http://schemas.microsoft.com/office/2014/relationships/chartEx" Target="../charts/chartEx26.xml"/><Relationship Id="rId4" Type="http://schemas.openxmlformats.org/officeDocument/2006/relationships/image" Target="../media/image49.png"/></Relationships>
</file>

<file path=ppt/slides/_rels/slide14.xml.rels><?xml version="1.0" encoding="UTF-8" standalone="yes"?>
<Relationships xmlns="http://schemas.openxmlformats.org/package/2006/relationships"><Relationship Id="rId3" Type="http://schemas.microsoft.com/office/2014/relationships/chartEx" Target="../charts/chartEx27.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2.png"/><Relationship Id="rId5" Type="http://schemas.microsoft.com/office/2014/relationships/chartEx" Target="../charts/chartEx28.xml"/><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microsoft.com/office/2014/relationships/chartEx" Target="../charts/chartEx29.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90.png"/><Relationship Id="rId5" Type="http://schemas.microsoft.com/office/2014/relationships/chartEx" Target="../charts/chartEx30.xml"/><Relationship Id="rId4" Type="http://schemas.openxmlformats.org/officeDocument/2006/relationships/image" Target="../media/image280.png"/></Relationships>
</file>

<file path=ppt/slides/_rels/slide16.xml.rels><?xml version="1.0" encoding="UTF-8" standalone="yes"?>
<Relationships xmlns="http://schemas.openxmlformats.org/package/2006/relationships"><Relationship Id="rId3" Type="http://schemas.microsoft.com/office/2014/relationships/chartEx" Target="../charts/chartEx3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310.png"/><Relationship Id="rId5" Type="http://schemas.microsoft.com/office/2014/relationships/chartEx" Target="../charts/chartEx32.xml"/><Relationship Id="rId4" Type="http://schemas.openxmlformats.org/officeDocument/2006/relationships/image" Target="../media/image300.png"/></Relationships>
</file>

<file path=ppt/slides/_rels/slide17.xml.rels><?xml version="1.0" encoding="UTF-8" standalone="yes"?>
<Relationships xmlns="http://schemas.openxmlformats.org/package/2006/relationships"><Relationship Id="rId3" Type="http://schemas.microsoft.com/office/2014/relationships/chartEx" Target="../charts/chartEx33.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330.png"/><Relationship Id="rId5" Type="http://schemas.microsoft.com/office/2014/relationships/chartEx" Target="../charts/chartEx34.xml"/><Relationship Id="rId4" Type="http://schemas.openxmlformats.org/officeDocument/2006/relationships/image" Target="../media/image320.png"/></Relationships>
</file>

<file path=ppt/slides/_rels/slide18.xml.rels><?xml version="1.0" encoding="UTF-8" standalone="yes"?>
<Relationships xmlns="http://schemas.openxmlformats.org/package/2006/relationships"><Relationship Id="rId3" Type="http://schemas.microsoft.com/office/2014/relationships/chartEx" Target="../charts/chartEx35.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350.png"/><Relationship Id="rId5" Type="http://schemas.microsoft.com/office/2014/relationships/chartEx" Target="../charts/chartEx36.xml"/><Relationship Id="rId4" Type="http://schemas.openxmlformats.org/officeDocument/2006/relationships/image" Target="../media/image340.png"/></Relationships>
</file>

<file path=ppt/slides/_rels/slide19.xml.rels><?xml version="1.0" encoding="UTF-8" standalone="yes"?>
<Relationships xmlns="http://schemas.openxmlformats.org/package/2006/relationships"><Relationship Id="rId3" Type="http://schemas.microsoft.com/office/2014/relationships/chartEx" Target="../charts/chartEx37.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370.png"/><Relationship Id="rId5" Type="http://schemas.microsoft.com/office/2014/relationships/chartEx" Target="../charts/chartEx38.xml"/><Relationship Id="rId4" Type="http://schemas.openxmlformats.org/officeDocument/2006/relationships/image" Target="../media/image360.png"/></Relationships>
</file>

<file path=ppt/slides/_rels/slide2.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91.png"/><Relationship Id="rId5" Type="http://schemas.microsoft.com/office/2014/relationships/chartEx" Target="../charts/chartEx4.xml"/><Relationship Id="rId4" Type="http://schemas.openxmlformats.org/officeDocument/2006/relationships/image" Target="../media/image281.png"/></Relationships>
</file>

<file path=ppt/slides/_rels/slide20.xml.rels><?xml version="1.0" encoding="UTF-8" standalone="yes"?>
<Relationships xmlns="http://schemas.openxmlformats.org/package/2006/relationships"><Relationship Id="rId3" Type="http://schemas.microsoft.com/office/2014/relationships/chartEx" Target="../charts/chartEx39.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391.png"/><Relationship Id="rId5" Type="http://schemas.microsoft.com/office/2014/relationships/chartEx" Target="../charts/chartEx40.xml"/><Relationship Id="rId4" Type="http://schemas.openxmlformats.org/officeDocument/2006/relationships/image" Target="../media/image380.png"/></Relationships>
</file>

<file path=ppt/slides/_rels/slide21.xml.rels><?xml version="1.0" encoding="UTF-8" standalone="yes"?>
<Relationships xmlns="http://schemas.openxmlformats.org/package/2006/relationships"><Relationship Id="rId3" Type="http://schemas.microsoft.com/office/2014/relationships/chartEx" Target="../charts/chartEx41.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410.png"/><Relationship Id="rId5" Type="http://schemas.microsoft.com/office/2014/relationships/chartEx" Target="../charts/chartEx42.xml"/><Relationship Id="rId4" Type="http://schemas.openxmlformats.org/officeDocument/2006/relationships/image" Target="../media/image400.png"/></Relationships>
</file>

<file path=ppt/slides/_rels/slide22.xml.rels><?xml version="1.0" encoding="UTF-8" standalone="yes"?>
<Relationships xmlns="http://schemas.openxmlformats.org/package/2006/relationships"><Relationship Id="rId3" Type="http://schemas.microsoft.com/office/2014/relationships/chartEx" Target="../charts/chartEx43.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430.png"/><Relationship Id="rId5" Type="http://schemas.microsoft.com/office/2014/relationships/chartEx" Target="../charts/chartEx44.xml"/><Relationship Id="rId4" Type="http://schemas.openxmlformats.org/officeDocument/2006/relationships/image" Target="../media/image420.png"/></Relationships>
</file>

<file path=ppt/slides/_rels/slide23.xml.rels><?xml version="1.0" encoding="UTF-8" standalone="yes"?>
<Relationships xmlns="http://schemas.openxmlformats.org/package/2006/relationships"><Relationship Id="rId3" Type="http://schemas.microsoft.com/office/2014/relationships/chartEx" Target="../charts/chartEx4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450.png"/><Relationship Id="rId5" Type="http://schemas.microsoft.com/office/2014/relationships/chartEx" Target="../charts/chartEx46.xml"/><Relationship Id="rId4" Type="http://schemas.openxmlformats.org/officeDocument/2006/relationships/image" Target="../media/image440.png"/></Relationships>
</file>

<file path=ppt/slides/_rels/slide24.xml.rels><?xml version="1.0" encoding="UTF-8" standalone="yes"?>
<Relationships xmlns="http://schemas.openxmlformats.org/package/2006/relationships"><Relationship Id="rId3" Type="http://schemas.microsoft.com/office/2014/relationships/chartEx" Target="../charts/chartEx47.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470.png"/><Relationship Id="rId5" Type="http://schemas.microsoft.com/office/2014/relationships/chartEx" Target="../charts/chartEx48.xml"/><Relationship Id="rId4" Type="http://schemas.openxmlformats.org/officeDocument/2006/relationships/image" Target="../media/image460.png"/></Relationships>
</file>

<file path=ppt/slides/_rels/slide25.xml.rels><?xml version="1.0" encoding="UTF-8" standalone="yes"?>
<Relationships xmlns="http://schemas.openxmlformats.org/package/2006/relationships"><Relationship Id="rId3" Type="http://schemas.microsoft.com/office/2014/relationships/chartEx" Target="../charts/chartEx49.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490.png"/><Relationship Id="rId5" Type="http://schemas.microsoft.com/office/2014/relationships/chartEx" Target="../charts/chartEx50.xml"/><Relationship Id="rId4" Type="http://schemas.openxmlformats.org/officeDocument/2006/relationships/image" Target="../media/image480.png"/></Relationships>
</file>

<file path=ppt/slides/_rels/slide26.xml.rels><?xml version="1.0" encoding="UTF-8" standalone="yes"?>
<Relationships xmlns="http://schemas.openxmlformats.org/package/2006/relationships"><Relationship Id="rId3" Type="http://schemas.microsoft.com/office/2014/relationships/chartEx" Target="../charts/chartEx51.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10.png"/><Relationship Id="rId5" Type="http://schemas.microsoft.com/office/2014/relationships/chartEx" Target="../charts/chartEx52.xml"/><Relationship Id="rId4" Type="http://schemas.openxmlformats.org/officeDocument/2006/relationships/image" Target="../media/image500.png"/></Relationships>
</file>

<file path=ppt/slides/_rels/slide3.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1.png"/><Relationship Id="rId5" Type="http://schemas.microsoft.com/office/2014/relationships/chartEx" Target="../charts/chartEx6.xml"/><Relationship Id="rId4" Type="http://schemas.openxmlformats.org/officeDocument/2006/relationships/image" Target="../media/image30.png"/></Relationships>
</file>

<file path=ppt/slides/_rels/slide4.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3.png"/><Relationship Id="rId5" Type="http://schemas.microsoft.com/office/2014/relationships/chartEx" Target="../charts/chartEx8.xml"/><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5.png"/><Relationship Id="rId5" Type="http://schemas.microsoft.com/office/2014/relationships/chartEx" Target="../charts/chartEx10.xml"/><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microsoft.com/office/2014/relationships/chartEx" Target="../charts/chartEx1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7.png"/><Relationship Id="rId5" Type="http://schemas.microsoft.com/office/2014/relationships/chartEx" Target="../charts/chartEx12.xml"/><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3" Type="http://schemas.microsoft.com/office/2014/relationships/chartEx" Target="../charts/chartEx13.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9.png"/><Relationship Id="rId5" Type="http://schemas.microsoft.com/office/2014/relationships/chartEx" Target="../charts/chartEx14.xml"/><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3" Type="http://schemas.microsoft.com/office/2014/relationships/chartEx" Target="../charts/chartEx15.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40.png"/><Relationship Id="rId5" Type="http://schemas.microsoft.com/office/2014/relationships/chartEx" Target="../charts/chartEx16.xml"/><Relationship Id="rId4" Type="http://schemas.openxmlformats.org/officeDocument/2006/relationships/image" Target="../media/image390.png"/></Relationships>
</file>

<file path=ppt/slides/_rels/slide9.xml.rels><?xml version="1.0" encoding="UTF-8" standalone="yes"?>
<Relationships xmlns="http://schemas.openxmlformats.org/package/2006/relationships"><Relationship Id="rId3" Type="http://schemas.microsoft.com/office/2014/relationships/chartEx" Target="../charts/chartEx17.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2.png"/><Relationship Id="rId5" Type="http://schemas.microsoft.com/office/2014/relationships/chartEx" Target="../charts/chartEx18.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7808786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324885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9947680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04065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3412155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40300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OC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05138505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29523513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9512292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HA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04066856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07602028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860682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ND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21249688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81591911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9108695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BR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74324308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7877570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194005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LOI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81130255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5827642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8288603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2021634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E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1056074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617879426"/>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836259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BO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68559732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30303739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5023689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578057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1373880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3990201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8348580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2961755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2371168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4489399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8377668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1097989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V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58771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R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18249193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Q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4408239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2.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08</TotalTime>
  <Words>1429</Words>
  <Application>Microsoft Office PowerPoint</Application>
  <PresentationFormat>On-screen Show (16:9)</PresentationFormat>
  <Paragraphs>208</Paragraphs>
  <Slides>26</Slides>
  <Notes>2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7</cp:revision>
  <dcterms:created xsi:type="dcterms:W3CDTF">2024-07-05T07:54:38Z</dcterms:created>
  <dcterms:modified xsi:type="dcterms:W3CDTF">2025-09-01T12:1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